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4"/>
  </p:notesMasterIdLst>
  <p:sldIdLst>
    <p:sldId id="380" r:id="rId2"/>
    <p:sldId id="419" r:id="rId3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520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615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6" name="Date Placeholder 3">
            <a:extLst>
              <a:ext uri="{FF2B5EF4-FFF2-40B4-BE49-F238E27FC236}">
                <a16:creationId xmlns:a16="http://schemas.microsoft.com/office/drawing/2014/main" id="{FD99508A-C743-4C9A-9F55-E2A452893F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37" name="Footer Placeholder 4">
            <a:extLst>
              <a:ext uri="{FF2B5EF4-FFF2-40B4-BE49-F238E27FC236}">
                <a16:creationId xmlns:a16="http://schemas.microsoft.com/office/drawing/2014/main" id="{5ABA51E0-8EAB-450E-8340-E3CA2CBFC4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8E58865-6936-481B-8DFB-C4D8580FB649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F7DDE20-19AC-4D37-8299-3D6DAB89C7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40" name="TPandFilters">
            <a:extLst>
              <a:ext uri="{FF2B5EF4-FFF2-40B4-BE49-F238E27FC236}">
                <a16:creationId xmlns:a16="http://schemas.microsoft.com/office/drawing/2014/main" id="{89B14BB1-215D-42F2-BD80-4B3FD5837143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 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E43917B-06D7-426E-B35D-7A1556FC4889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7544A21E-7986-4AE4-B6FD-E80A46C0DA1A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3404BC8D-02AF-4405-A766-D7A24EE2BF25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B6BD120-DF69-4D52-BD43-B3B6FC202ECF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D34704A9-CC6D-4747-B43F-9AE9B047558A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61" name="Slide Number Placeholder 5">
            <a:extLst>
              <a:ext uri="{FF2B5EF4-FFF2-40B4-BE49-F238E27FC236}">
                <a16:creationId xmlns:a16="http://schemas.microsoft.com/office/drawing/2014/main" id="{CFD903DB-B8FE-4035-86B6-22E8D6D284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2" name="Picture 6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CE206CB-DE87-4567-893B-48E68B0C12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1FF818B-5ABD-491C-91B9-FEA2B84CEEC0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347647" y="17996"/>
            <a:ext cx="11825313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804851" y="158650"/>
            <a:ext cx="806196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 – Supermarket/Grocery Shoppers</a:t>
            </a: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47648" y="760088"/>
            <a:ext cx="11410527" cy="5205251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924510"/>
              </p:ext>
            </p:extLst>
          </p:nvPr>
        </p:nvGraphicFramePr>
        <p:xfrm>
          <a:off x="466498" y="767210"/>
          <a:ext cx="11172825" cy="5191006"/>
        </p:xfrm>
        <a:graphic>
          <a:graphicData uri="http://schemas.openxmlformats.org/drawingml/2006/table">
            <a:tbl>
              <a:tblPr/>
              <a:tblGrid>
                <a:gridCol w="3981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350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396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3532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 – Supermarket/Grocer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9095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315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315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33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315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3315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2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0943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3315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3315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38186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4466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30819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3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ame format as middle class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7134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4542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OTHER*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454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454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54" name="TextBox 53"/>
          <p:cNvSpPr txBox="1"/>
          <p:nvPr/>
        </p:nvSpPr>
        <p:spPr>
          <a:xfrm>
            <a:off x="6900863" y="5994117"/>
            <a:ext cx="5272098" cy="315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1] Stat Test vs Share of Shopper of Monthly+ Urban-Supermarket/Grocery, [2] Stat Test vs Total Trips of Urban-Supermarket/Grocery,</a:t>
            </a:r>
          </a:p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3] Stat Test vs Total Shopper of Monthly+ Urban-Supermarket/Grocery</a:t>
            </a: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5561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347656" y="17999"/>
            <a:ext cx="11844344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804859" y="158653"/>
            <a:ext cx="806196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 – Supermarket/Grocery Shoppers</a:t>
            </a: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347656" y="761994"/>
            <a:ext cx="11346592" cy="5153031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57" name="Table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462968"/>
              </p:ext>
            </p:extLst>
          </p:nvPr>
        </p:nvGraphicFramePr>
        <p:xfrm>
          <a:off x="455487" y="1278781"/>
          <a:ext cx="11045952" cy="4447844"/>
        </p:xfrm>
        <a:graphic>
          <a:graphicData uri="http://schemas.openxmlformats.org/drawingml/2006/table">
            <a:tbl>
              <a:tblPr/>
              <a:tblGrid>
                <a:gridCol w="704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438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74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3797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 – Supermarket/Grocer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3550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200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P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BEVERAGE CATEGORIE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SD Regular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320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SD Die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3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D Coffee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6842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1894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P NON-BEVERAGE CATEGORIE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esh Me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1894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afood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0678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gg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95526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00524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C MAIN REASO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tal Share of Trip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813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22702">
                <a:tc row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VERAGE BASKET SIZE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: of Item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.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22702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ollar Spent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$5.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455484" y="809804"/>
            <a:ext cx="11217403" cy="374320"/>
          </a:xfrm>
          <a:prstGeom prst="rect">
            <a:avLst/>
          </a:prstGeom>
          <a:solidFill>
            <a:srgbClr val="CC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Potential facts to include in “OTHER” section on the SOAP slid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458085" y="6050190"/>
            <a:ext cx="46843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ea typeface="ＭＳ Ｐゴシック" charset="0"/>
                <a:cs typeface="ＭＳ Ｐゴシック" charset="0"/>
              </a:rPr>
              <a:t>Stat Test vs Total Trips of Urban-Supermarket/Grocery</a:t>
            </a:r>
          </a:p>
        </p:txBody>
      </p:sp>
    </p:spTree>
    <p:extLst>
      <p:ext uri="{BB962C8B-B14F-4D97-AF65-F5344CB8AC3E}">
        <p14:creationId xmlns:p14="http://schemas.microsoft.com/office/powerpoint/2010/main" val="338664420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11</TotalTime>
  <Words>269</Words>
  <Application>Microsoft Office PowerPoint</Application>
  <PresentationFormat>Widescreen</PresentationFormat>
  <Paragraphs>6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35</cp:revision>
  <cp:lastPrinted>2015-12-04T15:56:47Z</cp:lastPrinted>
  <dcterms:created xsi:type="dcterms:W3CDTF">2014-05-21T13:43:49Z</dcterms:created>
  <dcterms:modified xsi:type="dcterms:W3CDTF">2018-10-22T09:4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